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4" r:id="rId2"/>
  </p:sldMasterIdLst>
  <p:notesMasterIdLst>
    <p:notesMasterId r:id="rId14"/>
  </p:notesMasterIdLst>
  <p:handoutMasterIdLst>
    <p:handoutMasterId r:id="rId15"/>
  </p:handoutMasterIdLst>
  <p:sldIdLst>
    <p:sldId id="1277" r:id="rId3"/>
    <p:sldId id="1293" r:id="rId4"/>
    <p:sldId id="1294" r:id="rId5"/>
    <p:sldId id="1296" r:id="rId6"/>
    <p:sldId id="1383" r:id="rId7"/>
    <p:sldId id="1384" r:id="rId8"/>
    <p:sldId id="1373" r:id="rId9"/>
    <p:sldId id="1343" r:id="rId10"/>
    <p:sldId id="1344" r:id="rId11"/>
    <p:sldId id="1345" r:id="rId12"/>
    <p:sldId id="1346" r:id="rId13"/>
  </p:sldIdLst>
  <p:sldSz cx="12192000" cy="6858000"/>
  <p:notesSz cx="6950075" cy="92360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FEEC50D9-8969-43BB-8724-35975469CB2C}">
          <p14:sldIdLst>
            <p14:sldId id="1277"/>
            <p14:sldId id="1293"/>
            <p14:sldId id="1294"/>
            <p14:sldId id="1296"/>
            <p14:sldId id="1383"/>
            <p14:sldId id="1384"/>
            <p14:sldId id="1373"/>
            <p14:sldId id="1343"/>
            <p14:sldId id="1344"/>
            <p14:sldId id="1345"/>
            <p14:sldId id="134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1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B69"/>
    <a:srgbClr val="FF7575"/>
    <a:srgbClr val="FD783D"/>
    <a:srgbClr val="FF572F"/>
    <a:srgbClr val="FF7453"/>
    <a:srgbClr val="FF5D37"/>
    <a:srgbClr val="F1592F"/>
    <a:srgbClr val="FF3300"/>
    <a:srgbClr val="FFD243"/>
    <a:srgbClr val="FF7A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113" autoAdjust="0"/>
    <p:restoredTop sz="94548" autoAdjust="0"/>
  </p:normalViewPr>
  <p:slideViewPr>
    <p:cSldViewPr snapToGrid="0">
      <p:cViewPr varScale="1">
        <p:scale>
          <a:sx n="109" d="100"/>
          <a:sy n="109" d="100"/>
        </p:scale>
        <p:origin x="1182" y="10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936137" y="0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88527-8C78-4670-A74D-468E88FB2658}" type="datetimeFigureOut">
              <a:rPr lang="cs-CZ" smtClean="0"/>
              <a:t>20.01.2022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1" y="8772414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936137" y="8772414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5D0693-75AC-4F46-BBF1-1CD96A6AD73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04647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936767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0.01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936767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BFCB68-01F3-4028-943D-0453D67E25ED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19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53732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45485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538340"/>
            <a:ext cx="10375900" cy="4568394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4418"/>
            <a:ext cx="432000" cy="4335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Nadpis 1"/>
          <p:cNvSpPr>
            <a:spLocks noGrp="1"/>
          </p:cNvSpPr>
          <p:nvPr>
            <p:ph type="title"/>
          </p:nvPr>
        </p:nvSpPr>
        <p:spPr>
          <a:xfrm>
            <a:off x="838201" y="165100"/>
            <a:ext cx="8001000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cxnSp>
        <p:nvCxnSpPr>
          <p:cNvPr id="13" name="Přímá spojnice 12"/>
          <p:cNvCxnSpPr/>
          <p:nvPr userDrawn="1"/>
        </p:nvCxnSpPr>
        <p:spPr>
          <a:xfrm flipV="1">
            <a:off x="0" y="1085179"/>
            <a:ext cx="12192000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bdélník 7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0052" y="97662"/>
            <a:ext cx="2661948" cy="9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35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8127997" y="0"/>
            <a:ext cx="406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Obdélník 11"/>
          <p:cNvSpPr/>
          <p:nvPr userDrawn="1"/>
        </p:nvSpPr>
        <p:spPr>
          <a:xfrm>
            <a:off x="8127997" y="4673599"/>
            <a:ext cx="4064003" cy="218440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539003" y="1135062"/>
            <a:ext cx="3241991" cy="1757362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32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pPr lvl="0" algn="ctr"/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1921" y="644672"/>
            <a:ext cx="6483982" cy="5654528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2400" dirty="0" smtClean="0"/>
            </a:lvl1pPr>
          </a:lstStyle>
          <a:p>
            <a:pPr marL="0" lvl="0" indent="0" algn="ctr">
              <a:buNone/>
            </a:pPr>
            <a:r>
              <a:rPr lang="cs-CZ" dirty="0"/>
              <a:t>Kliknutím lze upravit styly předlohy textu.</a:t>
            </a: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0369" y="5986922"/>
            <a:ext cx="2430126" cy="852293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9" name="Přímá spojnice 8"/>
          <p:cNvCxnSpPr/>
          <p:nvPr userDrawn="1"/>
        </p:nvCxnSpPr>
        <p:spPr>
          <a:xfrm flipV="1">
            <a:off x="8128000" y="0"/>
            <a:ext cx="0" cy="685800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Skupina 15"/>
          <p:cNvGrpSpPr/>
          <p:nvPr userDrawn="1"/>
        </p:nvGrpSpPr>
        <p:grpSpPr>
          <a:xfrm>
            <a:off x="9167650" y="3681252"/>
            <a:ext cx="1984694" cy="1984694"/>
            <a:chOff x="-4198256" y="-1833664"/>
            <a:chExt cx="6858000" cy="6858000"/>
          </a:xfrm>
        </p:grpSpPr>
        <p:sp>
          <p:nvSpPr>
            <p:cNvPr id="17" name="Ovál 16"/>
            <p:cNvSpPr/>
            <p:nvPr/>
          </p:nvSpPr>
          <p:spPr>
            <a:xfrm>
              <a:off x="-3308310" y="-943718"/>
              <a:ext cx="5049080" cy="504908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" name="Obrázek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198256" y="-1833664"/>
              <a:ext cx="6858000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4455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bdélní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 userDrawn="1"/>
        </p:nvSpPr>
        <p:spPr>
          <a:xfrm>
            <a:off x="1511300" y="6244853"/>
            <a:ext cx="10680700" cy="61314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44853"/>
            <a:ext cx="1778000" cy="613147"/>
          </a:xfrm>
          <a:prstGeom prst="rect">
            <a:avLst/>
          </a:prstGeom>
        </p:spPr>
      </p:pic>
      <p:grpSp>
        <p:nvGrpSpPr>
          <p:cNvPr id="3" name="Skupina 2"/>
          <p:cNvGrpSpPr/>
          <p:nvPr userDrawn="1"/>
        </p:nvGrpSpPr>
        <p:grpSpPr>
          <a:xfrm>
            <a:off x="11023600" y="5681975"/>
            <a:ext cx="1041400" cy="1074956"/>
            <a:chOff x="10733618" y="5437836"/>
            <a:chExt cx="1375832" cy="1420164"/>
          </a:xfrm>
        </p:grpSpPr>
        <p:sp>
          <p:nvSpPr>
            <p:cNvPr id="8" name="Ovál 7"/>
            <p:cNvSpPr/>
            <p:nvPr userDrawn="1"/>
          </p:nvSpPr>
          <p:spPr>
            <a:xfrm>
              <a:off x="10974122" y="5757656"/>
              <a:ext cx="894824" cy="894824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33618" y="5437836"/>
              <a:ext cx="1375832" cy="14201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8265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052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 userDrawn="1"/>
        </p:nvSpPr>
        <p:spPr>
          <a:xfrm rot="10800000"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6000">
                <a:schemeClr val="tx1">
                  <a:lumMod val="65000"/>
                  <a:lumOff val="35000"/>
                </a:schemeClr>
              </a:gs>
              <a:gs pos="27000">
                <a:schemeClr val="tx1">
                  <a:lumMod val="85000"/>
                  <a:lumOff val="15000"/>
                </a:schemeClr>
              </a:gs>
              <a:gs pos="63000">
                <a:srgbClr val="00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94424"/>
            <a:ext cx="2654300" cy="663576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600" y="2249716"/>
            <a:ext cx="2336800" cy="2336800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délník 1"/>
          <p:cNvSpPr/>
          <p:nvPr userDrawn="1"/>
        </p:nvSpPr>
        <p:spPr>
          <a:xfrm>
            <a:off x="4221769" y="4683938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581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2189213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Obrázek 3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Obdélník 2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  <a:alpha val="90000"/>
                </a:schemeClr>
              </a:gs>
              <a:gs pos="83000">
                <a:schemeClr val="accent3">
                  <a:lumMod val="45000"/>
                  <a:lumOff val="55000"/>
                  <a:alpha val="90000"/>
                </a:schemeClr>
              </a:gs>
              <a:gs pos="100000">
                <a:schemeClr val="accent3">
                  <a:lumMod val="30000"/>
                  <a:lumOff val="70000"/>
                  <a:alpha val="90000"/>
                </a:schemeClr>
              </a:gs>
            </a:gsLst>
            <a:lin ang="15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364343" y="3700284"/>
            <a:ext cx="9144000" cy="131522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64341" y="5107060"/>
            <a:ext cx="9144000" cy="99882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lze upravit styl předlohy.</a:t>
            </a:r>
          </a:p>
        </p:txBody>
      </p:sp>
      <p:cxnSp>
        <p:nvCxnSpPr>
          <p:cNvPr id="7" name="Přímá spojnice 6"/>
          <p:cNvCxnSpPr/>
          <p:nvPr userDrawn="1"/>
        </p:nvCxnSpPr>
        <p:spPr>
          <a:xfrm>
            <a:off x="20409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10220324" y="0"/>
            <a:ext cx="1971675" cy="365125"/>
          </a:xfrm>
          <a:noFill/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2" name="Přímá spojnice 21"/>
          <p:cNvCxnSpPr/>
          <p:nvPr userDrawn="1"/>
        </p:nvCxnSpPr>
        <p:spPr>
          <a:xfrm>
            <a:off x="7264966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Obrázek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653" y="1319035"/>
            <a:ext cx="1984694" cy="1984694"/>
          </a:xfrm>
          <a:prstGeom prst="rect">
            <a:avLst/>
          </a:prstGeom>
        </p:spPr>
      </p:pic>
      <p:sp>
        <p:nvSpPr>
          <p:cNvPr id="6" name="Kosoúhelník 5"/>
          <p:cNvSpPr/>
          <p:nvPr userDrawn="1"/>
        </p:nvSpPr>
        <p:spPr>
          <a:xfrm rot="10800000">
            <a:off x="1503900" y="-12894"/>
            <a:ext cx="2438400" cy="900000"/>
          </a:xfrm>
          <a:prstGeom prst="parallelogram">
            <a:avLst>
              <a:gd name="adj" fmla="val 86251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667" y="-12894"/>
            <a:ext cx="280196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165100"/>
            <a:ext cx="9379857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755396"/>
            <a:ext cx="10375900" cy="4351338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cxnSp>
        <p:nvCxnSpPr>
          <p:cNvPr id="8" name="Přímá spojnice 7"/>
          <p:cNvCxnSpPr/>
          <p:nvPr userDrawn="1"/>
        </p:nvCxnSpPr>
        <p:spPr>
          <a:xfrm flipV="1">
            <a:off x="0" y="1085178"/>
            <a:ext cx="10218057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2" name="Přímá spojnice 11"/>
          <p:cNvCxnSpPr/>
          <p:nvPr userDrawn="1"/>
        </p:nvCxnSpPr>
        <p:spPr>
          <a:xfrm>
            <a:off x="11826903" y="1085177"/>
            <a:ext cx="365097" cy="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9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781" y="414958"/>
            <a:ext cx="1340438" cy="134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706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  <p:sldLayoutId id="2147483760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320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11771313" y="6443663"/>
            <a:ext cx="42068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ctrTitle"/>
          </p:nvPr>
        </p:nvSpPr>
        <p:spPr>
          <a:xfrm>
            <a:off x="1368547" y="3690851"/>
            <a:ext cx="9842263" cy="1829090"/>
          </a:xfrm>
        </p:spPr>
        <p:txBody>
          <a:bodyPr>
            <a:normAutofit fontScale="90000"/>
          </a:bodyPr>
          <a:lstStyle/>
          <a:p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ční briefing ICŘT </a:t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i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rodní dispečink lůžkové péče</a:t>
            </a: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cs-CZ" b="1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Podnadpis 2"/>
          <p:cNvSpPr>
            <a:spLocks noGrp="1"/>
          </p:cNvSpPr>
          <p:nvPr>
            <p:ph type="subTitle" idx="1"/>
          </p:nvPr>
        </p:nvSpPr>
        <p:spPr>
          <a:xfrm>
            <a:off x="1659489" y="6344687"/>
            <a:ext cx="9144000" cy="513313"/>
          </a:xfrm>
        </p:spPr>
        <p:txBody>
          <a:bodyPr>
            <a:normAutofit/>
          </a:bodyPr>
          <a:lstStyle/>
          <a:p>
            <a:r>
              <a:rPr lang="cs-CZ" b="1" dirty="0" smtClean="0"/>
              <a:t>20. ledna 2022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3847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7734115"/>
              </p:ext>
            </p:extLst>
          </p:nvPr>
        </p:nvGraphicFramePr>
        <p:xfrm>
          <a:off x="376606" y="813855"/>
          <a:ext cx="11519385" cy="4795637"/>
        </p:xfrm>
        <a:graphic>
          <a:graphicData uri="http://schemas.openxmlformats.org/drawingml/2006/table">
            <a:tbl>
              <a:tblPr firstRow="1" firstCol="1" bandRow="1"/>
              <a:tblGrid>
                <a:gridCol w="1413921">
                  <a:extLst>
                    <a:ext uri="{9D8B030D-6E8A-4147-A177-3AD203B41FA5}">
                      <a16:colId xmlns:a16="http://schemas.microsoft.com/office/drawing/2014/main" val="3772522195"/>
                    </a:ext>
                  </a:extLst>
                </a:gridCol>
                <a:gridCol w="2191947">
                  <a:extLst>
                    <a:ext uri="{9D8B030D-6E8A-4147-A177-3AD203B41FA5}">
                      <a16:colId xmlns:a16="http://schemas.microsoft.com/office/drawing/2014/main" val="842899262"/>
                    </a:ext>
                  </a:extLst>
                </a:gridCol>
                <a:gridCol w="2444381">
                  <a:extLst>
                    <a:ext uri="{9D8B030D-6E8A-4147-A177-3AD203B41FA5}">
                      <a16:colId xmlns:a16="http://schemas.microsoft.com/office/drawing/2014/main" val="105783194"/>
                    </a:ext>
                  </a:extLst>
                </a:gridCol>
                <a:gridCol w="2100154">
                  <a:extLst>
                    <a:ext uri="{9D8B030D-6E8A-4147-A177-3AD203B41FA5}">
                      <a16:colId xmlns:a16="http://schemas.microsoft.com/office/drawing/2014/main" val="3894075409"/>
                    </a:ext>
                  </a:extLst>
                </a:gridCol>
                <a:gridCol w="3368982">
                  <a:extLst>
                    <a:ext uri="{9D8B030D-6E8A-4147-A177-3AD203B41FA5}">
                      <a16:colId xmlns:a16="http://schemas.microsoft.com/office/drawing/2014/main" val="2922963808"/>
                    </a:ext>
                  </a:extLst>
                </a:gridCol>
              </a:tblGrid>
              <a:tr h="65252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8164548"/>
                  </a:ext>
                </a:extLst>
              </a:tr>
              <a:tr h="102184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arlovarský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klid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upný návrat k elektivní operativě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8287979"/>
                  </a:ext>
                </a:extLst>
              </a:tr>
              <a:tr h="186396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ředočeský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.01.22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není třeba omezovat provozy v nemocnicích regionu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elkové hodnocení situace – situace klidná, předpokládáme potíže s nemocností personálu a personálem na OČR či v karanténě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623958"/>
                  </a:ext>
                </a:extLst>
              </a:tr>
              <a:tr h="12573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morav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elková lůžková kapacita zlepšena – překlady mezi nemocnicemi jen ECMO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ysoký počet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kovidů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na lůžkách IP přetrvává ECMO kapacita dostatečná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0028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93951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cs-CZ" smtClean="0"/>
              <a:t>Hodnocení situace v krajích od KKIP</a:t>
            </a:r>
            <a:endParaRPr lang="cs-CZ" dirty="0"/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7004281"/>
              </p:ext>
            </p:extLst>
          </p:nvPr>
        </p:nvGraphicFramePr>
        <p:xfrm>
          <a:off x="434413" y="847512"/>
          <a:ext cx="11435203" cy="5415018"/>
        </p:xfrm>
        <a:graphic>
          <a:graphicData uri="http://schemas.openxmlformats.org/drawingml/2006/table">
            <a:tbl>
              <a:tblPr firstRow="1" firstCol="1" bandRow="1"/>
              <a:tblGrid>
                <a:gridCol w="1403588">
                  <a:extLst>
                    <a:ext uri="{9D8B030D-6E8A-4147-A177-3AD203B41FA5}">
                      <a16:colId xmlns:a16="http://schemas.microsoft.com/office/drawing/2014/main" val="3544378427"/>
                    </a:ext>
                  </a:extLst>
                </a:gridCol>
                <a:gridCol w="2175930">
                  <a:extLst>
                    <a:ext uri="{9D8B030D-6E8A-4147-A177-3AD203B41FA5}">
                      <a16:colId xmlns:a16="http://schemas.microsoft.com/office/drawing/2014/main" val="2335077237"/>
                    </a:ext>
                  </a:extLst>
                </a:gridCol>
                <a:gridCol w="2426518">
                  <a:extLst>
                    <a:ext uri="{9D8B030D-6E8A-4147-A177-3AD203B41FA5}">
                      <a16:colId xmlns:a16="http://schemas.microsoft.com/office/drawing/2014/main" val="1383355635"/>
                    </a:ext>
                  </a:extLst>
                </a:gridCol>
                <a:gridCol w="2084806">
                  <a:extLst>
                    <a:ext uri="{9D8B030D-6E8A-4147-A177-3AD203B41FA5}">
                      <a16:colId xmlns:a16="http://schemas.microsoft.com/office/drawing/2014/main" val="142418389"/>
                    </a:ext>
                  </a:extLst>
                </a:gridCol>
                <a:gridCol w="3344361">
                  <a:extLst>
                    <a:ext uri="{9D8B030D-6E8A-4147-A177-3AD203B41FA5}">
                      <a16:colId xmlns:a16="http://schemas.microsoft.com/office/drawing/2014/main" val="413358982"/>
                    </a:ext>
                  </a:extLst>
                </a:gridCol>
              </a:tblGrid>
              <a:tr h="61261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208484"/>
                  </a:ext>
                </a:extLst>
              </a:tr>
              <a:tr h="127725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Ústecký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dochází k restrukturalizaci provozů, bez omezení jejich normální funk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rvá 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atížení C19 JIP (pokles zatím pouze o 1/3 v porovnání se špičkovým zatížením na podzim 2021). Nemocnost personálu zatím bez zásadního vlivu na provoz.</a:t>
                      </a:r>
                    </a:p>
                  </a:txBody>
                  <a:tcPr marL="95250" marR="95250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0712985"/>
                  </a:ext>
                </a:extLst>
              </a:tr>
              <a:tr h="122334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lín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dochází k restrukturalizaci provozů, bez omezení jejich normální funk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kraji je pokles C+ hospitalizovaných na standardu, JIP zatížené také méně, ale je vysoký počet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a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acientů, kteří drž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JIPk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zaplněné ve všech nemocnicích v ZLK. Začínáme pociťovat nedostatek personálu z důvodu pozitivity či karantény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4531413"/>
                  </a:ext>
                </a:extLst>
              </a:tr>
              <a:tr h="122213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ravskoslez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írně navýšena elektivní péče, v intenzivní péči nadále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idoví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acienti (ZZ zatím nezadávají do DIP – informace zaslána)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71595"/>
                  </a:ext>
                </a:extLst>
              </a:tr>
              <a:tr h="98891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če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dochází k restrukturalizaci provozů, bez omezení jejich normální funkce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JHC pokles C+ hospitalizovaných na standardu, JIP zatížené také méně, trvá hospitalizace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acientů, mimo ISIN. Využívání možnost </a:t>
                      </a:r>
                      <a:r>
                        <a:rPr lang="cs-CZ" sz="1300" b="0" i="0" kern="120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acovní karantény.</a:t>
                      </a:r>
                      <a:endParaRPr lang="cs-CZ" sz="13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53488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94208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771770" y="2788977"/>
            <a:ext cx="292330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Obsazená lůžka IP C+ pacienty k </a:t>
            </a:r>
          </a:p>
          <a:p>
            <a:pPr algn="ctr"/>
            <a:r>
              <a:rPr lang="cs-CZ" b="1" dirty="0" smtClean="0"/>
              <a:t>20.1.2022 00:26</a:t>
            </a:r>
            <a:endParaRPr lang="cs-CZ" b="1" dirty="0"/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290</a:t>
            </a: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7645894"/>
              </p:ext>
            </p:extLst>
          </p:nvPr>
        </p:nvGraphicFramePr>
        <p:xfrm>
          <a:off x="193431" y="967147"/>
          <a:ext cx="9205545" cy="5378885"/>
        </p:xfrm>
        <a:graphic>
          <a:graphicData uri="http://schemas.openxmlformats.org/drawingml/2006/table">
            <a:tbl>
              <a:tblPr/>
              <a:tblGrid>
                <a:gridCol w="1954101">
                  <a:extLst>
                    <a:ext uri="{9D8B030D-6E8A-4147-A177-3AD203B41FA5}">
                      <a16:colId xmlns:a16="http://schemas.microsoft.com/office/drawing/2014/main" val="1967540829"/>
                    </a:ext>
                  </a:extLst>
                </a:gridCol>
                <a:gridCol w="1196388">
                  <a:extLst>
                    <a:ext uri="{9D8B030D-6E8A-4147-A177-3AD203B41FA5}">
                      <a16:colId xmlns:a16="http://schemas.microsoft.com/office/drawing/2014/main" val="910039247"/>
                    </a:ext>
                  </a:extLst>
                </a:gridCol>
                <a:gridCol w="1106659">
                  <a:extLst>
                    <a:ext uri="{9D8B030D-6E8A-4147-A177-3AD203B41FA5}">
                      <a16:colId xmlns:a16="http://schemas.microsoft.com/office/drawing/2014/main" val="289627660"/>
                    </a:ext>
                  </a:extLst>
                </a:gridCol>
                <a:gridCol w="1103337">
                  <a:extLst>
                    <a:ext uri="{9D8B030D-6E8A-4147-A177-3AD203B41FA5}">
                      <a16:colId xmlns:a16="http://schemas.microsoft.com/office/drawing/2014/main" val="924211212"/>
                    </a:ext>
                  </a:extLst>
                </a:gridCol>
                <a:gridCol w="1143216">
                  <a:extLst>
                    <a:ext uri="{9D8B030D-6E8A-4147-A177-3AD203B41FA5}">
                      <a16:colId xmlns:a16="http://schemas.microsoft.com/office/drawing/2014/main" val="3849268039"/>
                    </a:ext>
                  </a:extLst>
                </a:gridCol>
                <a:gridCol w="1146539">
                  <a:extLst>
                    <a:ext uri="{9D8B030D-6E8A-4147-A177-3AD203B41FA5}">
                      <a16:colId xmlns:a16="http://schemas.microsoft.com/office/drawing/2014/main" val="1192159377"/>
                    </a:ext>
                  </a:extLst>
                </a:gridCol>
                <a:gridCol w="1555305">
                  <a:extLst>
                    <a:ext uri="{9D8B030D-6E8A-4147-A177-3AD203B41FA5}">
                      <a16:colId xmlns:a16="http://schemas.microsoft.com/office/drawing/2014/main" val="4034669611"/>
                    </a:ext>
                  </a:extLst>
                </a:gridCol>
              </a:tblGrid>
              <a:tr h="189305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oddělení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4287581"/>
                  </a:ext>
                </a:extLst>
              </a:tr>
              <a:tr h="189305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(ARO + JIP) v ČR k 20.01. 2022, </a:t>
                      </a:r>
                      <a:r>
                        <a:rPr lang="cs-CZ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:00 </a:t>
                      </a: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7891585"/>
                  </a:ext>
                </a:extLst>
              </a:tr>
              <a:tr h="189305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0630410"/>
                  </a:ext>
                </a:extLst>
              </a:tr>
              <a:tr h="18930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ůžka IP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45233238"/>
                  </a:ext>
                </a:extLst>
              </a:tr>
              <a:tr h="67520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</a:t>
                      </a:r>
                      <a:r>
                        <a:rPr lang="cs-CZ" sz="13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vid</a:t>
                      </a: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9799859"/>
                  </a:ext>
                </a:extLst>
              </a:tr>
              <a:tr h="18930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8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7395666"/>
                  </a:ext>
                </a:extLst>
              </a:tr>
              <a:tr h="18930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7764774"/>
                  </a:ext>
                </a:extLst>
              </a:tr>
              <a:tr h="18930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6184277"/>
                  </a:ext>
                </a:extLst>
              </a:tr>
              <a:tr h="18930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6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7420233"/>
                  </a:ext>
                </a:extLst>
              </a:tr>
              <a:tr h="18930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92542657"/>
                  </a:ext>
                </a:extLst>
              </a:tr>
              <a:tr h="18930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8564615"/>
                  </a:ext>
                </a:extLst>
              </a:tr>
              <a:tr h="18930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1972568"/>
                  </a:ext>
                </a:extLst>
              </a:tr>
              <a:tr h="18930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8087872"/>
                  </a:ext>
                </a:extLst>
              </a:tr>
              <a:tr h="18930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27748500"/>
                  </a:ext>
                </a:extLst>
              </a:tr>
              <a:tr h="18930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4807490"/>
                  </a:ext>
                </a:extLst>
              </a:tr>
              <a:tr h="18930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7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0997422"/>
                  </a:ext>
                </a:extLst>
              </a:tr>
              <a:tr h="18930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476627"/>
                  </a:ext>
                </a:extLst>
              </a:tr>
              <a:tr h="18930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36089642"/>
                  </a:ext>
                </a:extLst>
              </a:tr>
              <a:tr h="18930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4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9698980"/>
                  </a:ext>
                </a:extLst>
              </a:tr>
              <a:tr h="18930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10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8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4474822"/>
                  </a:ext>
                </a:extLst>
              </a:tr>
              <a:tr h="189305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2661993"/>
                  </a:ext>
                </a:extLst>
              </a:tr>
              <a:tr h="189305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72238935"/>
                  </a:ext>
                </a:extLst>
              </a:tr>
              <a:tr h="18930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59481605"/>
                  </a:ext>
                </a:extLst>
              </a:tr>
              <a:tr h="189305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x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022888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8888286" y="3247654"/>
            <a:ext cx="2923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IP jsou umístěna na neinfekčních odděleních IP.</a:t>
            </a: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1898230"/>
              </p:ext>
            </p:extLst>
          </p:nvPr>
        </p:nvGraphicFramePr>
        <p:xfrm>
          <a:off x="263770" y="975948"/>
          <a:ext cx="9240715" cy="5376075"/>
        </p:xfrm>
        <a:graphic>
          <a:graphicData uri="http://schemas.openxmlformats.org/drawingml/2006/table">
            <a:tbl>
              <a:tblPr/>
              <a:tblGrid>
                <a:gridCol w="1961567">
                  <a:extLst>
                    <a:ext uri="{9D8B030D-6E8A-4147-A177-3AD203B41FA5}">
                      <a16:colId xmlns:a16="http://schemas.microsoft.com/office/drawing/2014/main" val="1923211745"/>
                    </a:ext>
                  </a:extLst>
                </a:gridCol>
                <a:gridCol w="1200960">
                  <a:extLst>
                    <a:ext uri="{9D8B030D-6E8A-4147-A177-3AD203B41FA5}">
                      <a16:colId xmlns:a16="http://schemas.microsoft.com/office/drawing/2014/main" val="561894564"/>
                    </a:ext>
                  </a:extLst>
                </a:gridCol>
                <a:gridCol w="1110888">
                  <a:extLst>
                    <a:ext uri="{9D8B030D-6E8A-4147-A177-3AD203B41FA5}">
                      <a16:colId xmlns:a16="http://schemas.microsoft.com/office/drawing/2014/main" val="2164580211"/>
                    </a:ext>
                  </a:extLst>
                </a:gridCol>
                <a:gridCol w="1107551">
                  <a:extLst>
                    <a:ext uri="{9D8B030D-6E8A-4147-A177-3AD203B41FA5}">
                      <a16:colId xmlns:a16="http://schemas.microsoft.com/office/drawing/2014/main" val="1131303123"/>
                    </a:ext>
                  </a:extLst>
                </a:gridCol>
                <a:gridCol w="1147583">
                  <a:extLst>
                    <a:ext uri="{9D8B030D-6E8A-4147-A177-3AD203B41FA5}">
                      <a16:colId xmlns:a16="http://schemas.microsoft.com/office/drawing/2014/main" val="944738154"/>
                    </a:ext>
                  </a:extLst>
                </a:gridCol>
                <a:gridCol w="1150919">
                  <a:extLst>
                    <a:ext uri="{9D8B030D-6E8A-4147-A177-3AD203B41FA5}">
                      <a16:colId xmlns:a16="http://schemas.microsoft.com/office/drawing/2014/main" val="3191931205"/>
                    </a:ext>
                  </a:extLst>
                </a:gridCol>
                <a:gridCol w="1561247">
                  <a:extLst>
                    <a:ext uri="{9D8B030D-6E8A-4147-A177-3AD203B41FA5}">
                      <a16:colId xmlns:a16="http://schemas.microsoft.com/office/drawing/2014/main" val="4152767927"/>
                    </a:ext>
                  </a:extLst>
                </a:gridCol>
              </a:tblGrid>
              <a:tr h="187146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oddělení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71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8221054"/>
                  </a:ext>
                </a:extLst>
              </a:tr>
              <a:tr h="187146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na Infekčním oddělení (ARO + JIP) v ČR k 20.01. 2022, </a:t>
                      </a:r>
                      <a:r>
                        <a:rPr lang="cs-CZ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:00 </a:t>
                      </a: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25939416"/>
                  </a:ext>
                </a:extLst>
              </a:tr>
              <a:tr h="187146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77810493"/>
                  </a:ext>
                </a:extLst>
              </a:tr>
              <a:tr h="187146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IP na Infekčním oddělení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5535606"/>
                  </a:ext>
                </a:extLst>
              </a:tr>
              <a:tr h="67209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</a:t>
                      </a:r>
                      <a:r>
                        <a:rPr lang="cs-CZ" sz="13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vid</a:t>
                      </a: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0683403"/>
                  </a:ext>
                </a:extLst>
              </a:tr>
              <a:tr h="18714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29438185"/>
                  </a:ext>
                </a:extLst>
              </a:tr>
              <a:tr h="18714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5836024"/>
                  </a:ext>
                </a:extLst>
              </a:tr>
              <a:tr h="18714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56994271"/>
                  </a:ext>
                </a:extLst>
              </a:tr>
              <a:tr h="18714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47932799"/>
                  </a:ext>
                </a:extLst>
              </a:tr>
              <a:tr h="18714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83001831"/>
                  </a:ext>
                </a:extLst>
              </a:tr>
              <a:tr h="18714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9982677"/>
                  </a:ext>
                </a:extLst>
              </a:tr>
              <a:tr h="18714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7736130"/>
                  </a:ext>
                </a:extLst>
              </a:tr>
              <a:tr h="18714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3277717"/>
                  </a:ext>
                </a:extLst>
              </a:tr>
              <a:tr h="18714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2144139"/>
                  </a:ext>
                </a:extLst>
              </a:tr>
              <a:tr h="18714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81643090"/>
                  </a:ext>
                </a:extLst>
              </a:tr>
              <a:tr h="18714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56958379"/>
                  </a:ext>
                </a:extLst>
              </a:tr>
              <a:tr h="18714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002940"/>
                  </a:ext>
                </a:extLst>
              </a:tr>
              <a:tr h="18714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8007052"/>
                  </a:ext>
                </a:extLst>
              </a:tr>
              <a:tr h="18714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2057400"/>
                  </a:ext>
                </a:extLst>
              </a:tr>
              <a:tr h="18714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990875"/>
                  </a:ext>
                </a:extLst>
              </a:tr>
              <a:tr h="187146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91847233"/>
                  </a:ext>
                </a:extLst>
              </a:tr>
              <a:tr h="187146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4339601"/>
                  </a:ext>
                </a:extLst>
              </a:tr>
              <a:tr h="18714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4768539"/>
                  </a:ext>
                </a:extLst>
              </a:tr>
              <a:tr h="187146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x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48081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23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0"/>
            <a:ext cx="9885238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9167693" y="2123615"/>
            <a:ext cx="278602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bsazená standardní</a:t>
            </a:r>
          </a:p>
          <a:p>
            <a:pPr algn="ctr"/>
            <a:r>
              <a:rPr lang="cs-CZ" b="1" dirty="0"/>
              <a:t> lůžka C+ </a:t>
            </a:r>
            <a:r>
              <a:rPr lang="cs-CZ" b="1" dirty="0" smtClean="0"/>
              <a:t>pacienty k 20.1.2022 00:26</a:t>
            </a:r>
          </a:p>
          <a:p>
            <a:pPr algn="ctr"/>
            <a:endParaRPr lang="cs-CZ" b="1" dirty="0"/>
          </a:p>
          <a:p>
            <a:pPr algn="ctr"/>
            <a:r>
              <a:rPr lang="cs-CZ" sz="2000" b="1" dirty="0"/>
              <a:t>1 </a:t>
            </a:r>
            <a:r>
              <a:rPr lang="cs-CZ" sz="2000" b="1" dirty="0" smtClean="0"/>
              <a:t>325</a:t>
            </a:r>
            <a:endParaRPr lang="cs-CZ" sz="2000" b="1" dirty="0"/>
          </a:p>
        </p:txBody>
      </p:sp>
      <p:sp>
        <p:nvSpPr>
          <p:cNvPr id="3" name="TextovéPole 2"/>
          <p:cNvSpPr txBox="1"/>
          <p:nvPr/>
        </p:nvSpPr>
        <p:spPr>
          <a:xfrm>
            <a:off x="9326849" y="4071853"/>
            <a:ext cx="24677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s kyslíkem jsou umístěna na standardních odděleních.</a:t>
            </a:r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5025329"/>
              </p:ext>
            </p:extLst>
          </p:nvPr>
        </p:nvGraphicFramePr>
        <p:xfrm>
          <a:off x="246186" y="967162"/>
          <a:ext cx="8411644" cy="5329116"/>
        </p:xfrm>
        <a:graphic>
          <a:graphicData uri="http://schemas.openxmlformats.org/drawingml/2006/table">
            <a:tbl>
              <a:tblPr/>
              <a:tblGrid>
                <a:gridCol w="1709660">
                  <a:extLst>
                    <a:ext uri="{9D8B030D-6E8A-4147-A177-3AD203B41FA5}">
                      <a16:colId xmlns:a16="http://schemas.microsoft.com/office/drawing/2014/main" val="827742491"/>
                    </a:ext>
                  </a:extLst>
                </a:gridCol>
                <a:gridCol w="1046731">
                  <a:extLst>
                    <a:ext uri="{9D8B030D-6E8A-4147-A177-3AD203B41FA5}">
                      <a16:colId xmlns:a16="http://schemas.microsoft.com/office/drawing/2014/main" val="1546738527"/>
                    </a:ext>
                  </a:extLst>
                </a:gridCol>
                <a:gridCol w="968225">
                  <a:extLst>
                    <a:ext uri="{9D8B030D-6E8A-4147-A177-3AD203B41FA5}">
                      <a16:colId xmlns:a16="http://schemas.microsoft.com/office/drawing/2014/main" val="3161143534"/>
                    </a:ext>
                  </a:extLst>
                </a:gridCol>
                <a:gridCol w="965318">
                  <a:extLst>
                    <a:ext uri="{9D8B030D-6E8A-4147-A177-3AD203B41FA5}">
                      <a16:colId xmlns:a16="http://schemas.microsoft.com/office/drawing/2014/main" val="2103088196"/>
                    </a:ext>
                  </a:extLst>
                </a:gridCol>
                <a:gridCol w="1000210">
                  <a:extLst>
                    <a:ext uri="{9D8B030D-6E8A-4147-A177-3AD203B41FA5}">
                      <a16:colId xmlns:a16="http://schemas.microsoft.com/office/drawing/2014/main" val="1905999550"/>
                    </a:ext>
                  </a:extLst>
                </a:gridCol>
                <a:gridCol w="1360750">
                  <a:extLst>
                    <a:ext uri="{9D8B030D-6E8A-4147-A177-3AD203B41FA5}">
                      <a16:colId xmlns:a16="http://schemas.microsoft.com/office/drawing/2014/main" val="3367246208"/>
                    </a:ext>
                  </a:extLst>
                </a:gridCol>
                <a:gridCol w="1360750">
                  <a:extLst>
                    <a:ext uri="{9D8B030D-6E8A-4147-A177-3AD203B41FA5}">
                      <a16:colId xmlns:a16="http://schemas.microsoft.com/office/drawing/2014/main" val="608098172"/>
                    </a:ext>
                  </a:extLst>
                </a:gridCol>
              </a:tblGrid>
              <a:tr h="211175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a infekční oddělení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7075033"/>
                  </a:ext>
                </a:extLst>
              </a:tr>
              <a:tr h="211175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20.01. 2022, </a:t>
                      </a:r>
                      <a:r>
                        <a:rPr lang="cs-CZ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:00 </a:t>
                      </a: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62352812"/>
                  </a:ext>
                </a:extLst>
              </a:tr>
              <a:tr h="18140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2090230"/>
                  </a:ext>
                </a:extLst>
              </a:tr>
              <a:tr h="21117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tní lůžka na Infekčním oddělení s O</a:t>
                      </a:r>
                      <a:r>
                        <a:rPr lang="pl-PL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pl-PL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25282603"/>
                  </a:ext>
                </a:extLst>
              </a:tr>
              <a:tr h="573189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 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na Infekčním oddělení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1930546"/>
                  </a:ext>
                </a:extLst>
              </a:tr>
              <a:tr h="18854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4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1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0349312"/>
                  </a:ext>
                </a:extLst>
              </a:tr>
              <a:tr h="18854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7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6906150"/>
                  </a:ext>
                </a:extLst>
              </a:tr>
              <a:tr h="18854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9515301"/>
                  </a:ext>
                </a:extLst>
              </a:tr>
              <a:tr h="18854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9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0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0155260"/>
                  </a:ext>
                </a:extLst>
              </a:tr>
              <a:tr h="18854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2032550"/>
                  </a:ext>
                </a:extLst>
              </a:tr>
              <a:tr h="18854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2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09000"/>
                  </a:ext>
                </a:extLst>
              </a:tr>
              <a:tr h="18854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0094626"/>
                  </a:ext>
                </a:extLst>
              </a:tr>
              <a:tr h="18854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9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1302258"/>
                  </a:ext>
                </a:extLst>
              </a:tr>
              <a:tr h="18854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212699"/>
                  </a:ext>
                </a:extLst>
              </a:tr>
              <a:tr h="18854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1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0901550"/>
                  </a:ext>
                </a:extLst>
              </a:tr>
              <a:tr h="18854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41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0950893"/>
                  </a:ext>
                </a:extLst>
              </a:tr>
              <a:tr h="18854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6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0557763"/>
                  </a:ext>
                </a:extLst>
              </a:tr>
              <a:tr h="18854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4126705"/>
                  </a:ext>
                </a:extLst>
              </a:tr>
              <a:tr h="19609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7786791"/>
                  </a:ext>
                </a:extLst>
              </a:tr>
              <a:tr h="20363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80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30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62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5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9765272"/>
                  </a:ext>
                </a:extLst>
              </a:tr>
              <a:tr h="188549">
                <a:tc gridSpan="7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2299981"/>
                  </a:ext>
                </a:extLst>
              </a:tr>
              <a:tr h="181404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2892205"/>
                  </a:ext>
                </a:extLst>
              </a:tr>
              <a:tr h="181404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9236093"/>
                  </a:ext>
                </a:extLst>
              </a:tr>
              <a:tr h="188549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x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3271104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316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Neaktualizovaná ZZ v DIP déle než 48 h</a:t>
            </a:r>
            <a:endParaRPr lang="cs-CZ" dirty="0"/>
          </a:p>
        </p:txBody>
      </p:sp>
      <p:sp>
        <p:nvSpPr>
          <p:cNvPr id="6" name="TextovéPole 5"/>
          <p:cNvSpPr txBox="1"/>
          <p:nvPr/>
        </p:nvSpPr>
        <p:spPr>
          <a:xfrm>
            <a:off x="9051232" y="4326831"/>
            <a:ext cx="26314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20.1.2022 11:10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ovéPole 6"/>
          <p:cNvSpPr txBox="1"/>
          <p:nvPr/>
        </p:nvSpPr>
        <p:spPr>
          <a:xfrm>
            <a:off x="8889023" y="2034581"/>
            <a:ext cx="295585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/>
              <a:t>Žádáme všechna ZZ o aktualizaci</a:t>
            </a:r>
          </a:p>
          <a:p>
            <a:pPr algn="ctr"/>
            <a:r>
              <a:rPr lang="cs-CZ" dirty="0" smtClean="0"/>
              <a:t> volných lůžkových kapacit </a:t>
            </a:r>
          </a:p>
          <a:p>
            <a:pPr algn="ctr"/>
            <a:r>
              <a:rPr lang="cs-CZ" dirty="0" smtClean="0"/>
              <a:t>každý den i během víkendů.</a:t>
            </a:r>
            <a:endParaRPr lang="cs-CZ" dirty="0"/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6304456"/>
              </p:ext>
            </p:extLst>
          </p:nvPr>
        </p:nvGraphicFramePr>
        <p:xfrm>
          <a:off x="1354016" y="1934152"/>
          <a:ext cx="5970953" cy="2804160"/>
        </p:xfrm>
        <a:graphic>
          <a:graphicData uri="http://schemas.openxmlformats.org/drawingml/2006/table">
            <a:tbl>
              <a:tblPr/>
              <a:tblGrid>
                <a:gridCol w="3238243">
                  <a:extLst>
                    <a:ext uri="{9D8B030D-6E8A-4147-A177-3AD203B41FA5}">
                      <a16:colId xmlns:a16="http://schemas.microsoft.com/office/drawing/2014/main" val="3709089991"/>
                    </a:ext>
                  </a:extLst>
                </a:gridCol>
                <a:gridCol w="791885">
                  <a:extLst>
                    <a:ext uri="{9D8B030D-6E8A-4147-A177-3AD203B41FA5}">
                      <a16:colId xmlns:a16="http://schemas.microsoft.com/office/drawing/2014/main" val="2916318408"/>
                    </a:ext>
                  </a:extLst>
                </a:gridCol>
                <a:gridCol w="1940825">
                  <a:extLst>
                    <a:ext uri="{9D8B030D-6E8A-4147-A177-3AD203B41FA5}">
                      <a16:colId xmlns:a16="http://schemas.microsoft.com/office/drawing/2014/main" val="163112969"/>
                    </a:ext>
                  </a:extLst>
                </a:gridCol>
              </a:tblGrid>
              <a:tr h="35052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slední aktualizac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846277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MN a.s., Nemocnice Šternberk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LK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5.01.2022 13:30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842473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Strakonice, a.s.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HC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.01.2022 7:02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4320727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lastní nemocnice Mladá Boleslav, a.s.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6.01.2022 11:05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736882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České Budějovice, a.s.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HC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7.01.2022 10:31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5882019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akultní nemocnice Královské Vinohrady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HA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7.01.2022 11:24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8489036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ská nemocnice Liberec, a.s.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BK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7.01.2022 16:01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4559660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Žatec, o.p.s.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LK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.01.2022 7:44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754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85340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0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 smtClean="0"/>
              <a:t>NDLP – Stav očkování u hospitalizovaných pacientů</a:t>
            </a:r>
            <a:endParaRPr lang="cs-CZ" sz="2800" dirty="0"/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1700662"/>
              </p:ext>
            </p:extLst>
          </p:nvPr>
        </p:nvGraphicFramePr>
        <p:xfrm>
          <a:off x="1522023" y="1993495"/>
          <a:ext cx="8652072" cy="31185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3018">
                  <a:extLst>
                    <a:ext uri="{9D8B030D-6E8A-4147-A177-3AD203B41FA5}">
                      <a16:colId xmlns:a16="http://schemas.microsoft.com/office/drawing/2014/main" val="2672105997"/>
                    </a:ext>
                  </a:extLst>
                </a:gridCol>
                <a:gridCol w="149527">
                  <a:extLst>
                    <a:ext uri="{9D8B030D-6E8A-4147-A177-3AD203B41FA5}">
                      <a16:colId xmlns:a16="http://schemas.microsoft.com/office/drawing/2014/main" val="2565829457"/>
                    </a:ext>
                  </a:extLst>
                </a:gridCol>
                <a:gridCol w="2013491">
                  <a:extLst>
                    <a:ext uri="{9D8B030D-6E8A-4147-A177-3AD203B41FA5}">
                      <a16:colId xmlns:a16="http://schemas.microsoft.com/office/drawing/2014/main" val="4257011553"/>
                    </a:ext>
                  </a:extLst>
                </a:gridCol>
                <a:gridCol w="2329909">
                  <a:extLst>
                    <a:ext uri="{9D8B030D-6E8A-4147-A177-3AD203B41FA5}">
                      <a16:colId xmlns:a16="http://schemas.microsoft.com/office/drawing/2014/main" val="3540943450"/>
                    </a:ext>
                  </a:extLst>
                </a:gridCol>
                <a:gridCol w="729761">
                  <a:extLst>
                    <a:ext uri="{9D8B030D-6E8A-4147-A177-3AD203B41FA5}">
                      <a16:colId xmlns:a16="http://schemas.microsoft.com/office/drawing/2014/main" val="1484824574"/>
                    </a:ext>
                  </a:extLst>
                </a:gridCol>
                <a:gridCol w="1266366">
                  <a:extLst>
                    <a:ext uri="{9D8B030D-6E8A-4147-A177-3AD203B41FA5}">
                      <a16:colId xmlns:a16="http://schemas.microsoft.com/office/drawing/2014/main" val="15660643"/>
                    </a:ext>
                  </a:extLst>
                </a:gridCol>
              </a:tblGrid>
              <a:tr h="389221">
                <a:tc>
                  <a:txBody>
                    <a:bodyPr/>
                    <a:lstStyle/>
                    <a:p>
                      <a:endParaRPr lang="cs-CZ" sz="1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cs-CZ" sz="1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400" b="0" i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Stav</a:t>
                      </a:r>
                      <a:r>
                        <a:rPr lang="cs-CZ" sz="1400" b="0" i="0" baseline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 k 20.1.2022 0:26 h</a:t>
                      </a:r>
                      <a:endParaRPr lang="cs-CZ" sz="1400" b="0" i="0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cs-CZ" sz="1200" b="0" i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b="0" i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Zdroj: ÚZIS</a:t>
                      </a:r>
                      <a:endParaRPr lang="cs-CZ" sz="1400" b="0" i="0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9070743"/>
                  </a:ext>
                </a:extLst>
              </a:tr>
              <a:tr h="557021">
                <a:tc gridSpan="6"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Celkem hospitalizovaných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PAC C+         </a:t>
                      </a:r>
                      <a:r>
                        <a:rPr lang="cs-CZ" sz="2400" b="1" baseline="0" dirty="0" smtClean="0">
                          <a:latin typeface="+mj-lt"/>
                          <a:cs typeface="Calibri" panose="020F0502020204030204" pitchFamily="34" charset="0"/>
                        </a:rPr>
                        <a:t>1 615</a:t>
                      </a:r>
                      <a:endParaRPr lang="cs-CZ" sz="2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7492961"/>
                  </a:ext>
                </a:extLst>
              </a:tr>
              <a:tr h="365132">
                <a:tc gridSpan="3">
                  <a:txBody>
                    <a:bodyPr/>
                    <a:lstStyle/>
                    <a:p>
                      <a:pPr algn="ctr"/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</a:t>
                      </a:r>
                      <a:endParaRPr lang="cs-CZ" sz="14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963122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Neočkovaní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896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55,5 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AC na JIP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290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71675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Nedokončené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očko.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43 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2,7</a:t>
                      </a:r>
                      <a:r>
                        <a:rPr lang="cs-CZ" sz="1600" b="0" baseline="0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 </a:t>
                      </a:r>
                      <a:r>
                        <a:rPr lang="cs-CZ" sz="1400" b="0" dirty="0" err="1" smtClean="0">
                          <a:latin typeface="+mj-lt"/>
                          <a:cs typeface="Calibri" panose="020F0502020204030204" pitchFamily="34" charset="0"/>
                        </a:rPr>
                        <a:t>neočko</a:t>
                      </a: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.</a:t>
                      </a:r>
                      <a:endParaRPr lang="cs-CZ" sz="14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203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 (70 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2755086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Dokončené očko.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456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28,2 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AC na standart O2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325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084318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osilovací dávka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220 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13,6</a:t>
                      </a:r>
                      <a:r>
                        <a:rPr lang="cs-CZ" sz="1600" b="0" baseline="0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 </a:t>
                      </a:r>
                      <a:r>
                        <a:rPr lang="cs-CZ" sz="1400" b="0" dirty="0" err="1" smtClean="0">
                          <a:latin typeface="+mj-lt"/>
                          <a:cs typeface="Calibri" panose="020F0502020204030204" pitchFamily="34" charset="0"/>
                        </a:rPr>
                        <a:t>neočko</a:t>
                      </a: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714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53,9 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76608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44160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71273" y="30260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 smtClean="0"/>
              <a:t>NDLP </a:t>
            </a:r>
            <a:r>
              <a:rPr lang="cs-CZ" dirty="0"/>
              <a:t>-</a:t>
            </a:r>
            <a:r>
              <a:rPr lang="cs-CZ" dirty="0" smtClean="0"/>
              <a:t> Souhrn</a:t>
            </a:r>
            <a:endParaRPr lang="cs-CZ" sz="2800" dirty="0"/>
          </a:p>
        </p:txBody>
      </p:sp>
      <p:graphicFrame>
        <p:nvGraphicFramePr>
          <p:cNvPr id="8" name="Tabulk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047268"/>
              </p:ext>
            </p:extLst>
          </p:nvPr>
        </p:nvGraphicFramePr>
        <p:xfrm>
          <a:off x="803513" y="1322691"/>
          <a:ext cx="4777098" cy="1341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199">
                  <a:extLst>
                    <a:ext uri="{9D8B030D-6E8A-4147-A177-3AD203B41FA5}">
                      <a16:colId xmlns:a16="http://schemas.microsoft.com/office/drawing/2014/main" val="2209585095"/>
                    </a:ext>
                  </a:extLst>
                </a:gridCol>
                <a:gridCol w="2033899">
                  <a:extLst>
                    <a:ext uri="{9D8B030D-6E8A-4147-A177-3AD203B41FA5}">
                      <a16:colId xmlns:a16="http://schemas.microsoft.com/office/drawing/2014/main" val="3513835546"/>
                    </a:ext>
                  </a:extLst>
                </a:gridCol>
              </a:tblGrid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apacity lůžkové péče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k 20.1.2022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62031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10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848900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ln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7,5 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4842585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sazenost C+ pac. n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1 %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753387"/>
                  </a:ext>
                </a:extLst>
              </a:tr>
            </a:tbl>
          </a:graphicData>
        </a:graphic>
      </p:graphicFrame>
      <p:sp>
        <p:nvSpPr>
          <p:cNvPr id="4" name="TextovéPole 3"/>
          <p:cNvSpPr txBox="1"/>
          <p:nvPr/>
        </p:nvSpPr>
        <p:spPr>
          <a:xfrm>
            <a:off x="698690" y="2927866"/>
            <a:ext cx="10397888" cy="32624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alší informace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dirty="0" smtClean="0">
              <a:solidFill>
                <a:prstClr val="black"/>
              </a:solidFill>
              <a:latin typeface="Segoe UI"/>
            </a:endParaRPr>
          </a:p>
          <a:p>
            <a:pPr marL="800100" lvl="1" indent="-342900">
              <a:buFont typeface="+mj-lt"/>
              <a:buAutoNum type="arabicParenR"/>
              <a:defRPr/>
            </a:pP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Dne 19.1. bylo 124 nově přijatých C+ pacientů a 183 propuštěných.</a:t>
            </a:r>
          </a:p>
          <a:p>
            <a:pPr marL="800100" lvl="1" indent="-342900">
              <a:buFont typeface="+mj-lt"/>
              <a:buAutoNum type="arabicParenR"/>
              <a:defRPr/>
            </a:pPr>
            <a:endParaRPr lang="cs-CZ" sz="17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800100" lvl="1" indent="-342900">
              <a:buFont typeface="+mj-lt"/>
              <a:buAutoNum type="arabicParenR"/>
              <a:defRPr/>
            </a:pP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KKIP – bez požadavků na mezikrajové překlady. </a:t>
            </a:r>
          </a:p>
          <a:p>
            <a:pPr marL="800100" lvl="1" indent="-342900">
              <a:buFont typeface="+mj-lt"/>
              <a:buAutoNum type="arabicParenR"/>
              <a:defRPr/>
            </a:pPr>
            <a:endParaRPr lang="cs-CZ" sz="17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800100" lvl="1" indent="-342900">
              <a:buFont typeface="+mj-lt"/>
              <a:buAutoNum type="arabicParenR"/>
              <a:defRPr/>
            </a:pP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KKIP  - celkové zlepšení situace v ČR i vzhledem ke zvyšujícím se počtům pozitivních testů, nižší počty příjmů C+ pac, ve všech krajích obnovena elektivní operativa s omezením do 50 % </a:t>
            </a:r>
            <a:r>
              <a:rPr lang="cs-CZ" sz="1700" dirty="0">
                <a:latin typeface="Segoe UI" panose="020B0502040204020203" pitchFamily="34" charset="0"/>
                <a:cs typeface="Segoe UI" panose="020B0502040204020203" pitchFamily="34" charset="0"/>
              </a:rPr>
              <a:t>a</a:t>
            </a: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méně</a:t>
            </a:r>
            <a:r>
              <a:rPr lang="cs-CZ" sz="1700" dirty="0">
                <a:latin typeface="Segoe UI" panose="020B0502040204020203" pitchFamily="34" charset="0"/>
                <a:cs typeface="Segoe UI" panose="020B0502040204020203" pitchFamily="34" charset="0"/>
              </a:rPr>
              <a:t>. Stále zatížení IP long-COVID pacienty</a:t>
            </a: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. Dochází k úbytku personálu – nemocnost, OČR.</a:t>
            </a:r>
          </a:p>
          <a:p>
            <a:pPr lvl="1">
              <a:defRPr/>
            </a:pPr>
            <a:endParaRPr lang="cs-CZ" sz="1700" dirty="0" smtClean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800100" lvl="1" indent="-342900">
              <a:buFont typeface="+mj-lt"/>
              <a:buAutoNum type="arabicParenR" startAt="4"/>
              <a:defRPr/>
            </a:pP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DIP – long-</a:t>
            </a:r>
            <a:r>
              <a:rPr lang="cs-CZ" sz="17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Covid</a:t>
            </a: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pacienti k 20.1.2022 11:20 -&gt; 123 celkem, z toho 74 pac na JIP, z toho 60 pac na UPV/ECMO</a:t>
            </a:r>
            <a:endParaRPr lang="cs-CZ" sz="17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5897634" y="1454642"/>
            <a:ext cx="525489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cs-CZ" b="1" u="sng" dirty="0" smtClean="0">
                <a:latin typeface="Segoe UI" panose="020B0502040204020203" pitchFamily="34" charset="0"/>
                <a:cs typeface="Segoe UI" panose="020B0502040204020203" pitchFamily="34" charset="0"/>
              </a:rPr>
              <a:t>Hodnocení:</a:t>
            </a:r>
          </a:p>
          <a:p>
            <a:pPr lvl="0"/>
            <a:r>
              <a:rPr lang="cs-CZ" dirty="0" smtClean="0">
                <a:latin typeface="Segoe UI" panose="020B0502040204020203" pitchFamily="34" charset="0"/>
                <a:cs typeface="Segoe UI" panose="020B0502040204020203" pitchFamily="34" charset="0"/>
              </a:rPr>
              <a:t>Volná kapacita JIP již čtvrtý týden stoupá a pokles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odílu </a:t>
            </a:r>
            <a:r>
              <a:rPr lang="cs-CZ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+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cientů začíná stagnovat.</a:t>
            </a:r>
            <a:endParaRPr lang="cs-CZ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2815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4141807"/>
              </p:ext>
            </p:extLst>
          </p:nvPr>
        </p:nvGraphicFramePr>
        <p:xfrm>
          <a:off x="332646" y="832093"/>
          <a:ext cx="11405086" cy="5156742"/>
        </p:xfrm>
        <a:graphic>
          <a:graphicData uri="http://schemas.openxmlformats.org/drawingml/2006/table">
            <a:tbl>
              <a:tblPr firstRow="1" firstCol="1" bandRow="1"/>
              <a:tblGrid>
                <a:gridCol w="1399893">
                  <a:extLst>
                    <a:ext uri="{9D8B030D-6E8A-4147-A177-3AD203B41FA5}">
                      <a16:colId xmlns:a16="http://schemas.microsoft.com/office/drawing/2014/main" val="139736479"/>
                    </a:ext>
                  </a:extLst>
                </a:gridCol>
                <a:gridCol w="1854723">
                  <a:extLst>
                    <a:ext uri="{9D8B030D-6E8A-4147-A177-3AD203B41FA5}">
                      <a16:colId xmlns:a16="http://schemas.microsoft.com/office/drawing/2014/main" val="1590847519"/>
                    </a:ext>
                  </a:extLst>
                </a:gridCol>
                <a:gridCol w="2549769">
                  <a:extLst>
                    <a:ext uri="{9D8B030D-6E8A-4147-A177-3AD203B41FA5}">
                      <a16:colId xmlns:a16="http://schemas.microsoft.com/office/drawing/2014/main" val="2576979814"/>
                    </a:ext>
                  </a:extLst>
                </a:gridCol>
                <a:gridCol w="2145323">
                  <a:extLst>
                    <a:ext uri="{9D8B030D-6E8A-4147-A177-3AD203B41FA5}">
                      <a16:colId xmlns:a16="http://schemas.microsoft.com/office/drawing/2014/main" val="2056688962"/>
                    </a:ext>
                  </a:extLst>
                </a:gridCol>
                <a:gridCol w="3455378">
                  <a:extLst>
                    <a:ext uri="{9D8B030D-6E8A-4147-A177-3AD203B41FA5}">
                      <a16:colId xmlns:a16="http://schemas.microsoft.com/office/drawing/2014/main" val="573671383"/>
                    </a:ext>
                  </a:extLst>
                </a:gridCol>
              </a:tblGrid>
              <a:tr h="66259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0206147"/>
                  </a:ext>
                </a:extLst>
              </a:tr>
              <a:tr h="97733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l. m. Prah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klid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není třeba omezovat provozy v nemocnicích regionu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bez omez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kapacity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pacienty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t.péč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nadále trvá ,ale podařilo se navýšit pro ně kapacity poklesem obsazenosti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t.lůžek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. Začínáme pociťovat dopad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icronu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personálního zabezpečení péče.</a:t>
                      </a:r>
                      <a:endParaRPr lang="cs-CZ" sz="1300" b="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1312754"/>
                  </a:ext>
                </a:extLst>
              </a:tr>
              <a:tr h="157243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rdubi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stabilní, kapacita standardní i IP pro C+ dostatečná, elektivní péče nadále částečně omezená ve prospěch COVID jednotek.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dostatek personálu i s ohledem na vysoký počet PN.</a:t>
                      </a:r>
                      <a:endParaRPr lang="cs-CZ" sz="130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9805074"/>
                  </a:ext>
                </a:extLst>
              </a:tr>
              <a:tr h="97586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álovéhrad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dochází k restrukturalizaci provozů, bez omezení jejich normální funk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bez omez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jednotlivých ZZ průběžně upravována kapacita C+ jednotek, v oblasti standardních lůžek t.č. cca obsazenost 50%, v IP zachován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2850101"/>
                  </a:ext>
                </a:extLst>
              </a:tr>
              <a:tr h="8770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ysočin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klid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dochází k restrukturalizaci provozů, bez omezení jejich normální funk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bez omezen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zdor narůstajícímu počtu pozitivních výsledků AG a PCR je zatím v nemocnicích situace klidná s postupným návratem k elektivní operativě (stále s mírným omezením IP pro pooperační stavy)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75649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80660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4691592"/>
              </p:ext>
            </p:extLst>
          </p:nvPr>
        </p:nvGraphicFramePr>
        <p:xfrm>
          <a:off x="288084" y="735512"/>
          <a:ext cx="11587543" cy="5735517"/>
        </p:xfrm>
        <a:graphic>
          <a:graphicData uri="http://schemas.openxmlformats.org/drawingml/2006/table">
            <a:tbl>
              <a:tblPr firstRow="1" firstCol="1" bandRow="1"/>
              <a:tblGrid>
                <a:gridCol w="1422287">
                  <a:extLst>
                    <a:ext uri="{9D8B030D-6E8A-4147-A177-3AD203B41FA5}">
                      <a16:colId xmlns:a16="http://schemas.microsoft.com/office/drawing/2014/main" val="2516720382"/>
                    </a:ext>
                  </a:extLst>
                </a:gridCol>
                <a:gridCol w="2204916">
                  <a:extLst>
                    <a:ext uri="{9D8B030D-6E8A-4147-A177-3AD203B41FA5}">
                      <a16:colId xmlns:a16="http://schemas.microsoft.com/office/drawing/2014/main" val="2538168158"/>
                    </a:ext>
                  </a:extLst>
                </a:gridCol>
                <a:gridCol w="2458844">
                  <a:extLst>
                    <a:ext uri="{9D8B030D-6E8A-4147-A177-3AD203B41FA5}">
                      <a16:colId xmlns:a16="http://schemas.microsoft.com/office/drawing/2014/main" val="1374489751"/>
                    </a:ext>
                  </a:extLst>
                </a:gridCol>
                <a:gridCol w="2112580">
                  <a:extLst>
                    <a:ext uri="{9D8B030D-6E8A-4147-A177-3AD203B41FA5}">
                      <a16:colId xmlns:a16="http://schemas.microsoft.com/office/drawing/2014/main" val="2988357666"/>
                    </a:ext>
                  </a:extLst>
                </a:gridCol>
                <a:gridCol w="3388916">
                  <a:extLst>
                    <a:ext uri="{9D8B030D-6E8A-4147-A177-3AD203B41FA5}">
                      <a16:colId xmlns:a16="http://schemas.microsoft.com/office/drawing/2014/main" val="3364315349"/>
                    </a:ext>
                  </a:extLst>
                </a:gridCol>
              </a:tblGrid>
              <a:tr h="66779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793804"/>
                  </a:ext>
                </a:extLst>
              </a:tr>
              <a:tr h="126955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ber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kapacity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pacienty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t.péč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nadále trvá ,ale podařilo se navýšit pro ně kapacity poklesem obsazenosti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t.lůžek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. Začínáme pociťovat dopad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icronu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personálního zabezpečení péče.</a:t>
                      </a:r>
                      <a:endParaRPr lang="cs-CZ" sz="1300" b="0" i="0" kern="1200" baseline="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9838243"/>
                  </a:ext>
                </a:extLst>
              </a:tr>
              <a:tr h="123092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lomouc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3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klid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bez omez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ktuálně navyšování elektivní operativy, část pracovišť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ndb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řipravenost k event. změně zpět do „COVID“ režimu.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yšší nemocnost personálu, ale zatím toto není limitací k poskytování péče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2932507"/>
                  </a:ext>
                </a:extLst>
              </a:tr>
              <a:tr h="235451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zeňs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3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ktuálně pokles počtu hospitalizovaných ve standardní i intenzivní péči umožňuje návrat některých COV oddělení do běžného režimu, operativa stále omezena cca 60-70%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řetrvávaj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acienti na IP a je vysoký tlak na následnou péči.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še ale ponecháno v rámci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n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by opatření s ohledem na vizi omikron mutace.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ersonál je i tak již za hranou svých možností a kapacit a převádí již druhým rokem strašlivá kvanta dovolené a osobního volna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50780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98965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1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+Sagoe">
      <a:majorFont>
        <a:latin typeface="Arial"/>
        <a:ea typeface=""/>
        <a:cs typeface=""/>
      </a:majorFont>
      <a:minorFont>
        <a:latin typeface="Segoe U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reporting-20200715</Template>
  <TotalTime>25564</TotalTime>
  <Words>1955</Words>
  <Application>Microsoft Office PowerPoint</Application>
  <PresentationFormat>Širokoúhlá obrazovka</PresentationFormat>
  <Paragraphs>554</Paragraphs>
  <Slides>11</Slides>
  <Notes>4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11</vt:i4>
      </vt:variant>
    </vt:vector>
  </HeadingPairs>
  <TitlesOfParts>
    <vt:vector size="18" baseType="lpstr">
      <vt:lpstr>Arial</vt:lpstr>
      <vt:lpstr>Arial Black</vt:lpstr>
      <vt:lpstr>Calibri</vt:lpstr>
      <vt:lpstr>Segoe UI</vt:lpstr>
      <vt:lpstr>Times New Roman</vt:lpstr>
      <vt:lpstr>Motiv Office</vt:lpstr>
      <vt:lpstr>1_Motiv Office</vt:lpstr>
      <vt:lpstr>Operační briefing ICŘT   Národní dispečink lůžkové péče </vt:lpstr>
      <vt:lpstr>Národní dispečink lůžkové péče</vt:lpstr>
      <vt:lpstr>Národní dispečink lůžkové péče</vt:lpstr>
      <vt:lpstr>Národní dispečink lůžkové péče</vt:lpstr>
      <vt:lpstr>Neaktualizovaná ZZ v DIP déle než 48 h</vt:lpstr>
      <vt:lpstr>NDLP – Stav očkování u hospitalizovaných pacientů</vt:lpstr>
      <vt:lpstr>NDLP - Souhrn</vt:lpstr>
      <vt:lpstr>Hodnocení situace v krajích od KKIP</vt:lpstr>
      <vt:lpstr>Hodnocení situace v krajích od KKIP</vt:lpstr>
      <vt:lpstr>Hodnocení situace v krajích od KKIP</vt:lpstr>
      <vt:lpstr>Hodnocení situace v krajích od KKI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Daniel Karafiát</cp:lastModifiedBy>
  <cp:revision>1923</cp:revision>
  <cp:lastPrinted>2020-10-20T04:21:56Z</cp:lastPrinted>
  <dcterms:created xsi:type="dcterms:W3CDTF">2020-07-15T10:33:32Z</dcterms:created>
  <dcterms:modified xsi:type="dcterms:W3CDTF">2022-01-20T11:17:13Z</dcterms:modified>
</cp:coreProperties>
</file>